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 showGuides="1">
      <p:cViewPr varScale="1">
        <p:scale>
          <a:sx n="96" d="100"/>
          <a:sy n="96" d="100"/>
        </p:scale>
        <p:origin x="144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94ACEB-ED00-45D2-B1D8-D8422772F0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ED0226-62FA-43A5-BA1B-5D52D49ABC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31AD8-653D-45BE-8637-2A3B36582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8E4FE6-714F-4909-97E0-C6B17B691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32D113-40EC-4BE6-8CD9-719A85E27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313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32443-8C3A-4DE8-A012-89FF9A998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CA6B11-834D-4189-A8B0-2091311DBC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E64873-D2CC-4212-BC2A-F2FC1B162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A641CD-2B32-4C22-AB08-47DFA0889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CC8F28-3E56-46B8-8E48-B4D2CA84C4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213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C25E684-4CB6-450D-B167-69F3DB2369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CE491C-9B3F-44FD-8F2F-6B805D0F9D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CA16F5-9344-444A-9E06-93E5CBE51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C4AF18-88C7-46D0-9E07-B6B903DD7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9F3E7F-0910-448B-B399-7A2836D28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002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FABD7-900F-4184-ACAF-6AE81F5A7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BF691-D4E4-42DF-9616-D3416C029C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1FB204-06F1-4701-9D3B-53EB6F970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9EBC9D-4ABF-4483-8DAD-7CD17C89F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444E5B-408E-4695-A16F-31E138EAD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6030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10BA80-BC9A-4D2F-B5C3-95B3B8920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EE3809-0BF0-47EA-B53C-1F10221D8F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549D99-AC55-485A-A9A1-C766355C6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4BD5B5-88A9-4A20-8F12-AB8139E76A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0E4455-1302-4CDD-BBAD-E23F48A0A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369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B63E91-6ED2-454A-BF0D-3EEF876A3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4CA85A-A405-4D68-AF5D-44FB72365F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7E23A4-5CBE-48B2-B2D8-C2555DCEA1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00080F-87F1-4E72-A289-234B47020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016C63-3DBE-4B61-BFE3-AFD490141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B3B5C6-4BBA-49A6-95BA-6209CE289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126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80A4E-ABD6-4AC7-89E0-270CB3159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F3DF34-A2AB-4B73-85D7-29BD7BD6EE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54673A-C7E0-41DF-BE02-D33D43C447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C820FD-C623-4D70-B486-E477EA3228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183C6F-95F1-402D-A1D7-B39C1B80AA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42CA51-850B-41DE-A6AA-110BF1D16E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5E389E-91CD-4007-A8A5-92617F89B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1D3185D-AE9E-45D6-B759-237529E36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850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B63BF9-A563-454E-A947-6818674FF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F8F15D-BF38-481F-A1EB-87D3FCD7D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162891-99CF-4F88-ADCD-F97062BF2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060D35-8622-49F4-9EEE-2A0A9544E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882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811B92-B2A7-4FD4-B855-0414F10FC0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71161E-2F0F-47A7-88AA-56D0B52EA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A62C91-4ADE-4A98-B868-6471F0817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018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A9FCA-551D-4F2D-AF8C-5EBED49DA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F537A3-D8D2-417E-8FF8-1BDF4C6F52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D11F35-B3F9-425D-848E-EBAA4FFC64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8B9236-916C-4732-BB66-79D7002AA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88DD2F-8D80-4B5D-BBAB-3670C5569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D170C2-182C-434F-8963-FF4BD128A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610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251909-E811-4CD4-9646-D8E489624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47FE1E-070A-483B-80AA-8FC65C160C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C27DC7-25E3-46D8-A338-6D778C747F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C3B919-D132-4EC3-A1F8-B998F47AA3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86C2D2-9CD8-47E1-A204-5F35470A72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385DC2-B76C-4701-9E6D-D63B54F0F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4412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60F914-F510-4BE4-9B3E-7440CA6B9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06958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6" imgW="526" imgH="526" progId="TCLayout.ActiveDocument.1">
                  <p:embed/>
                </p:oleObj>
              </mc:Choice>
              <mc:Fallback>
                <p:oleObj name="think-cell Slide" r:id="rId1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4C160D6-F01A-4681-A680-3DDFE14E6AF5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E1A331-D2D3-457E-8423-ECCCC0582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97B220-53B0-4455-9453-97298E6C92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7CAD13-945C-4069-86C0-0CCEBF2A4D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EFC86A-332B-43B0-ABC3-B07B11E19142}" type="datetimeFigureOut">
              <a:rPr lang="en-US" smtClean="0"/>
              <a:t>3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DD9BEC-704C-46DB-B4CD-A46B3AC6C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15F263-E61A-484F-95F2-CADD8735FE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A4F086-A4D8-4C05-9539-C8CF806038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33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B33A73-684D-4C1B-91E4-7DA7D6194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542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026D3FA-046E-40E0-A1FE-7CA25856E6B0}"/>
              </a:ext>
            </a:extLst>
          </p:cNvPr>
          <p:cNvGrpSpPr/>
          <p:nvPr/>
        </p:nvGrpSpPr>
        <p:grpSpPr>
          <a:xfrm>
            <a:off x="191252" y="5486052"/>
            <a:ext cx="2402814" cy="1272839"/>
            <a:chOff x="4731026" y="1656523"/>
            <a:chExt cx="2723322" cy="144262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9A466A3-1B1C-4990-8CD7-67005BF79FA0}"/>
                </a:ext>
              </a:extLst>
            </p:cNvPr>
            <p:cNvSpPr/>
            <p:nvPr/>
          </p:nvSpPr>
          <p:spPr>
            <a:xfrm>
              <a:off x="4731026" y="1656523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Person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03FF7E5-E96D-4042-A954-CE5C4674204D}"/>
                </a:ext>
              </a:extLst>
            </p:cNvPr>
            <p:cNvSpPr/>
            <p:nvPr/>
          </p:nvSpPr>
          <p:spPr>
            <a:xfrm>
              <a:off x="4731026" y="2173359"/>
              <a:ext cx="2723322" cy="925785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Adresse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Alt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Telefonnummer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6757ADC-9BA6-4D72-9859-6002EAE230C3}"/>
              </a:ext>
            </a:extLst>
          </p:cNvPr>
          <p:cNvGrpSpPr/>
          <p:nvPr/>
        </p:nvGrpSpPr>
        <p:grpSpPr>
          <a:xfrm>
            <a:off x="9515113" y="4846568"/>
            <a:ext cx="2475747" cy="1872828"/>
            <a:chOff x="4731026" y="1656522"/>
            <a:chExt cx="2723322" cy="226612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81E257C-2781-47B1-8CAF-8F376C802C7D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Unternehmen</a:t>
              </a:r>
              <a:endParaRPr lang="en-US" sz="14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EE77DCF-80B8-42B9-96A5-F112571D15AE}"/>
                </a:ext>
              </a:extLst>
            </p:cNvPr>
            <p:cNvSpPr/>
            <p:nvPr/>
          </p:nvSpPr>
          <p:spPr>
            <a:xfrm>
              <a:off x="4731026" y="2173358"/>
              <a:ext cx="2723322" cy="174928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Adresse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Angebot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CB9E46-FDD3-4D03-A87F-AB24A1791C70}"/>
              </a:ext>
            </a:extLst>
          </p:cNvPr>
          <p:cNvGrpSpPr/>
          <p:nvPr/>
        </p:nvGrpSpPr>
        <p:grpSpPr>
          <a:xfrm>
            <a:off x="4067438" y="5578648"/>
            <a:ext cx="2402814" cy="1044977"/>
            <a:chOff x="4731026" y="1656522"/>
            <a:chExt cx="2723322" cy="118436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EC4EDBE-97B6-4241-B04A-46D435003398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Lieferant</a:t>
              </a:r>
              <a:endParaRPr lang="en-US" sz="14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526396-D756-429F-8872-AA224855C545}"/>
                </a:ext>
              </a:extLst>
            </p:cNvPr>
            <p:cNvSpPr/>
            <p:nvPr/>
          </p:nvSpPr>
          <p:spPr>
            <a:xfrm>
              <a:off x="4731026" y="2173359"/>
              <a:ext cx="2723322" cy="66752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Telefonnummer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EE9A52-E637-4C53-8069-53626D46ED6C}"/>
              </a:ext>
            </a:extLst>
          </p:cNvPr>
          <p:cNvGrpSpPr/>
          <p:nvPr/>
        </p:nvGrpSpPr>
        <p:grpSpPr>
          <a:xfrm>
            <a:off x="71390" y="110749"/>
            <a:ext cx="2402814" cy="1999422"/>
            <a:chOff x="4731026" y="1656522"/>
            <a:chExt cx="2723322" cy="226612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874EE6-E678-4C95-8FB6-26B3E77861DE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sumer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19C8D18-2A35-4FF8-A1F1-87DF1DC8A286}"/>
                </a:ext>
              </a:extLst>
            </p:cNvPr>
            <p:cNvSpPr/>
            <p:nvPr/>
          </p:nvSpPr>
          <p:spPr>
            <a:xfrm>
              <a:off x="4731026" y="2173358"/>
              <a:ext cx="2723322" cy="174928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2F76494-2B93-4EA9-89F4-38F40AC1F8B8}"/>
              </a:ext>
            </a:extLst>
          </p:cNvPr>
          <p:cNvCxnSpPr>
            <a:cxnSpLocks/>
            <a:stCxn id="22" idx="2"/>
            <a:endCxn id="5" idx="0"/>
          </p:cNvCxnSpPr>
          <p:nvPr/>
        </p:nvCxnSpPr>
        <p:spPr>
          <a:xfrm>
            <a:off x="1272797" y="2110171"/>
            <a:ext cx="119862" cy="33758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5E9ECBA-9116-4077-8DE6-3D83D1E32CEB}"/>
              </a:ext>
            </a:extLst>
          </p:cNvPr>
          <p:cNvCxnSpPr>
            <a:cxnSpLocks/>
            <a:stCxn id="12" idx="0"/>
            <a:endCxn id="5" idx="3"/>
          </p:cNvCxnSpPr>
          <p:nvPr/>
        </p:nvCxnSpPr>
        <p:spPr>
          <a:xfrm flipH="1">
            <a:off x="2594066" y="5578648"/>
            <a:ext cx="2674779" cy="135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C403336-AFC3-44BD-AE50-BEFA0C858E86}"/>
              </a:ext>
            </a:extLst>
          </p:cNvPr>
          <p:cNvCxnSpPr>
            <a:cxnSpLocks/>
            <a:stCxn id="21" idx="3"/>
            <a:endCxn id="46" idx="1"/>
          </p:cNvCxnSpPr>
          <p:nvPr/>
        </p:nvCxnSpPr>
        <p:spPr>
          <a:xfrm>
            <a:off x="2474204" y="338754"/>
            <a:ext cx="2251302" cy="615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F783694-D98B-4ACD-A68C-6FB726E1F305}"/>
              </a:ext>
            </a:extLst>
          </p:cNvPr>
          <p:cNvGrpSpPr/>
          <p:nvPr/>
        </p:nvGrpSpPr>
        <p:grpSpPr>
          <a:xfrm>
            <a:off x="4725506" y="172298"/>
            <a:ext cx="1690968" cy="1048107"/>
            <a:chOff x="4731026" y="1439036"/>
            <a:chExt cx="2723322" cy="1687985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A2CF7AA-925D-48B1-B3CD-AAB429C4F5F7}"/>
                </a:ext>
              </a:extLst>
            </p:cNvPr>
            <p:cNvSpPr/>
            <p:nvPr/>
          </p:nvSpPr>
          <p:spPr>
            <a:xfrm>
              <a:off x="4731026" y="1439036"/>
              <a:ext cx="2723322" cy="73432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) Hat </a:t>
              </a:r>
              <a:r>
                <a:rPr lang="en-US" sz="1400" dirty="0" err="1"/>
                <a:t>Bedarf</a:t>
              </a:r>
              <a:r>
                <a:rPr lang="en-US" sz="1400" dirty="0"/>
                <a:t> </a:t>
              </a:r>
              <a:r>
                <a:rPr lang="en-US" sz="1400" dirty="0" err="1"/>
                <a:t>Sachgut</a:t>
              </a:r>
              <a:endParaRPr lang="en-US" sz="1400" dirty="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D328923E-0241-492B-AADB-1AAD3BFE23B1}"/>
                </a:ext>
              </a:extLst>
            </p:cNvPr>
            <p:cNvSpPr/>
            <p:nvPr/>
          </p:nvSpPr>
          <p:spPr>
            <a:xfrm>
              <a:off x="4731026" y="2173359"/>
              <a:ext cx="2723322" cy="953662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Bedarf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5D7758F-340B-4BB3-B261-FF570A940874}"/>
              </a:ext>
            </a:extLst>
          </p:cNvPr>
          <p:cNvCxnSpPr>
            <a:cxnSpLocks/>
            <a:stCxn id="47" idx="3"/>
            <a:endCxn id="51" idx="0"/>
          </p:cNvCxnSpPr>
          <p:nvPr/>
        </p:nvCxnSpPr>
        <p:spPr>
          <a:xfrm>
            <a:off x="6416474" y="924330"/>
            <a:ext cx="2988932" cy="9113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83964D-FCB9-42EA-A92E-35F700CB3D19}"/>
              </a:ext>
            </a:extLst>
          </p:cNvPr>
          <p:cNvGrpSpPr/>
          <p:nvPr/>
        </p:nvGrpSpPr>
        <p:grpSpPr>
          <a:xfrm>
            <a:off x="8559922" y="1835642"/>
            <a:ext cx="1690968" cy="1450154"/>
            <a:chOff x="4731026" y="1383739"/>
            <a:chExt cx="2723322" cy="2335487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D875EFB-BEF4-4692-9A23-DFE28047BF87}"/>
                </a:ext>
              </a:extLst>
            </p:cNvPr>
            <p:cNvSpPr/>
            <p:nvPr/>
          </p:nvSpPr>
          <p:spPr>
            <a:xfrm>
              <a:off x="4731026" y="1383739"/>
              <a:ext cx="2723322" cy="78961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2) </a:t>
              </a:r>
              <a:r>
                <a:rPr lang="en-US" sz="1400" dirty="0" err="1"/>
                <a:t>Vermittlung</a:t>
              </a:r>
              <a:r>
                <a:rPr lang="en-US" sz="1400" dirty="0"/>
                <a:t> </a:t>
              </a:r>
              <a:r>
                <a:rPr lang="en-US" sz="1400" dirty="0" err="1"/>
                <a:t>Bestellanf</a:t>
              </a:r>
              <a:r>
                <a:rPr lang="en-US" sz="1400" dirty="0"/>
                <a:t>.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919FE09-A3A3-4476-85B4-BD0E8699C660}"/>
                </a:ext>
              </a:extLst>
            </p:cNvPr>
            <p:cNvSpPr/>
            <p:nvPr/>
          </p:nvSpPr>
          <p:spPr>
            <a:xfrm>
              <a:off x="4731026" y="2173359"/>
              <a:ext cx="2723322" cy="154586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Consum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Unternehmen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BF95173-B803-4415-8917-7757AACE80F8}"/>
              </a:ext>
            </a:extLst>
          </p:cNvPr>
          <p:cNvCxnSpPr>
            <a:cxnSpLocks/>
            <a:stCxn id="22" idx="3"/>
            <a:endCxn id="139" idx="1"/>
          </p:cNvCxnSpPr>
          <p:nvPr/>
        </p:nvCxnSpPr>
        <p:spPr>
          <a:xfrm>
            <a:off x="2474204" y="1338465"/>
            <a:ext cx="3847555" cy="13263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7F2FF0D-C7E8-4366-9FF3-34F159BE46C8}"/>
              </a:ext>
            </a:extLst>
          </p:cNvPr>
          <p:cNvCxnSpPr>
            <a:cxnSpLocks/>
            <a:stCxn id="52" idx="3"/>
            <a:endCxn id="9" idx="1"/>
          </p:cNvCxnSpPr>
          <p:nvPr/>
        </p:nvCxnSpPr>
        <p:spPr>
          <a:xfrm flipH="1">
            <a:off x="9515113" y="2805865"/>
            <a:ext cx="735777" cy="22542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5F69D02-BF13-4AAC-8887-E53D3BACE87C}"/>
              </a:ext>
            </a:extLst>
          </p:cNvPr>
          <p:cNvGrpSpPr/>
          <p:nvPr/>
        </p:nvGrpSpPr>
        <p:grpSpPr>
          <a:xfrm>
            <a:off x="9320858" y="383557"/>
            <a:ext cx="1860065" cy="1279167"/>
            <a:chOff x="4731026" y="1656522"/>
            <a:chExt cx="2723322" cy="2266122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92C65159-D3ED-4D12-9E2F-F9904273C6A6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Bedarf</a:t>
              </a:r>
              <a:r>
                <a:rPr lang="en-US" sz="1400" dirty="0"/>
                <a:t> </a:t>
              </a:r>
              <a:r>
                <a:rPr lang="en-US" sz="1400" dirty="0" err="1"/>
                <a:t>Sachgut</a:t>
              </a:r>
              <a:endParaRPr lang="en-US" sz="1400" dirty="0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05B982D3-CE6F-4D9F-A505-793AE3F83F6A}"/>
                </a:ext>
              </a:extLst>
            </p:cNvPr>
            <p:cNvSpPr/>
            <p:nvPr/>
          </p:nvSpPr>
          <p:spPr>
            <a:xfrm>
              <a:off x="4731026" y="2173358"/>
              <a:ext cx="2723322" cy="174928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Unternehmen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Objekt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Menge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Wert</a:t>
              </a:r>
            </a:p>
            <a:p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A9E2C6C-47F0-4117-BE5D-92E7E4C7C7B6}"/>
              </a:ext>
            </a:extLst>
          </p:cNvPr>
          <p:cNvGrpSpPr/>
          <p:nvPr/>
        </p:nvGrpSpPr>
        <p:grpSpPr>
          <a:xfrm>
            <a:off x="6321759" y="2430649"/>
            <a:ext cx="1690968" cy="1428236"/>
            <a:chOff x="4731026" y="1419038"/>
            <a:chExt cx="2723322" cy="2300188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FCA220A3-8F95-4F51-B7F4-2D513074E924}"/>
                </a:ext>
              </a:extLst>
            </p:cNvPr>
            <p:cNvSpPr/>
            <p:nvPr/>
          </p:nvSpPr>
          <p:spPr>
            <a:xfrm>
              <a:off x="4731026" y="1419038"/>
              <a:ext cx="2723322" cy="7543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3) </a:t>
              </a:r>
              <a:r>
                <a:rPr lang="en-US" sz="1400" dirty="0" err="1"/>
                <a:t>Bestätigung</a:t>
              </a:r>
              <a:r>
                <a:rPr lang="en-US" sz="1400" dirty="0"/>
                <a:t> </a:t>
              </a:r>
              <a:r>
                <a:rPr lang="en-US" sz="1400" dirty="0" err="1"/>
                <a:t>Unternehmen</a:t>
              </a:r>
              <a:endParaRPr lang="en-US" sz="1400" dirty="0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B63354CD-7E31-4BA3-B489-E691B6A1A387}"/>
                </a:ext>
              </a:extLst>
            </p:cNvPr>
            <p:cNvSpPr/>
            <p:nvPr/>
          </p:nvSpPr>
          <p:spPr>
            <a:xfrm>
              <a:off x="4731026" y="2173359"/>
              <a:ext cx="2723322" cy="154586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Bedarf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Budg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Preis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8B88646A-14D0-4FC6-9ABF-104623C198B5}"/>
              </a:ext>
            </a:extLst>
          </p:cNvPr>
          <p:cNvCxnSpPr>
            <a:cxnSpLocks/>
            <a:stCxn id="140" idx="3"/>
            <a:endCxn id="9" idx="1"/>
          </p:cNvCxnSpPr>
          <p:nvPr/>
        </p:nvCxnSpPr>
        <p:spPr>
          <a:xfrm>
            <a:off x="8012727" y="3378954"/>
            <a:ext cx="1502386" cy="16811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D4CF11E-47F4-455E-8900-E9EFAB59EFB5}"/>
              </a:ext>
            </a:extLst>
          </p:cNvPr>
          <p:cNvGrpSpPr/>
          <p:nvPr/>
        </p:nvGrpSpPr>
        <p:grpSpPr>
          <a:xfrm>
            <a:off x="3552497" y="3542066"/>
            <a:ext cx="1690968" cy="1486383"/>
            <a:chOff x="4731026" y="1325392"/>
            <a:chExt cx="2723322" cy="2393834"/>
          </a:xfrm>
        </p:grpSpPr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87E9547-4DBB-4213-8B5D-A777E1570F6D}"/>
                </a:ext>
              </a:extLst>
            </p:cNvPr>
            <p:cNvSpPr/>
            <p:nvPr/>
          </p:nvSpPr>
          <p:spPr>
            <a:xfrm>
              <a:off x="4731026" y="1325392"/>
              <a:ext cx="2723322" cy="84796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4) </a:t>
              </a:r>
              <a:r>
                <a:rPr lang="en-US" sz="1400" dirty="0" err="1"/>
                <a:t>Bestätigung</a:t>
              </a:r>
              <a:r>
                <a:rPr lang="en-US" sz="1400" dirty="0"/>
                <a:t> </a:t>
              </a:r>
              <a:r>
                <a:rPr lang="en-US" sz="1400" dirty="0" err="1"/>
                <a:t>Consu</a:t>
              </a:r>
              <a:r>
                <a:rPr lang="en-US" sz="1400" dirty="0"/>
                <a:t>.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407B3EC1-9215-409A-B0DC-64CDF7DF46E8}"/>
                </a:ext>
              </a:extLst>
            </p:cNvPr>
            <p:cNvSpPr/>
            <p:nvPr/>
          </p:nvSpPr>
          <p:spPr>
            <a:xfrm>
              <a:off x="4731026" y="2173359"/>
              <a:ext cx="2723322" cy="154586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Bedarf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Budg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Preis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6F550928-1A8F-4156-9916-06208CECEFF4}"/>
              </a:ext>
            </a:extLst>
          </p:cNvPr>
          <p:cNvCxnSpPr>
            <a:cxnSpLocks/>
            <a:stCxn id="22" idx="3"/>
            <a:endCxn id="151" idx="0"/>
          </p:cNvCxnSpPr>
          <p:nvPr/>
        </p:nvCxnSpPr>
        <p:spPr>
          <a:xfrm>
            <a:off x="2474204" y="1338465"/>
            <a:ext cx="1923777" cy="22036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87674C6A-1BD1-41DF-8C21-858C6053C844}"/>
              </a:ext>
            </a:extLst>
          </p:cNvPr>
          <p:cNvCxnSpPr>
            <a:cxnSpLocks/>
            <a:stCxn id="152" idx="2"/>
            <a:endCxn id="12" idx="0"/>
          </p:cNvCxnSpPr>
          <p:nvPr/>
        </p:nvCxnSpPr>
        <p:spPr>
          <a:xfrm>
            <a:off x="4397981" y="5028449"/>
            <a:ext cx="870864" cy="5501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BF74FE74-2FC8-4B96-80B0-D8B2C9A4D155}"/>
              </a:ext>
            </a:extLst>
          </p:cNvPr>
          <p:cNvCxnSpPr>
            <a:cxnSpLocks/>
            <a:stCxn id="152" idx="3"/>
            <a:endCxn id="9" idx="1"/>
          </p:cNvCxnSpPr>
          <p:nvPr/>
        </p:nvCxnSpPr>
        <p:spPr>
          <a:xfrm>
            <a:off x="5243465" y="4548518"/>
            <a:ext cx="4271648" cy="5116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4424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B33A73-684D-4C1B-91E4-7DA7D6194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B33A73-684D-4C1B-91E4-7DA7D6194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026D3FA-046E-40E0-A1FE-7CA25856E6B0}"/>
              </a:ext>
            </a:extLst>
          </p:cNvPr>
          <p:cNvGrpSpPr/>
          <p:nvPr/>
        </p:nvGrpSpPr>
        <p:grpSpPr>
          <a:xfrm>
            <a:off x="191252" y="5486052"/>
            <a:ext cx="2402814" cy="1272839"/>
            <a:chOff x="4731026" y="1656523"/>
            <a:chExt cx="2723322" cy="144262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9A466A3-1B1C-4990-8CD7-67005BF79FA0}"/>
                </a:ext>
              </a:extLst>
            </p:cNvPr>
            <p:cNvSpPr/>
            <p:nvPr/>
          </p:nvSpPr>
          <p:spPr>
            <a:xfrm>
              <a:off x="4731026" y="1656523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Person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03FF7E5-E96D-4042-A954-CE5C4674204D}"/>
                </a:ext>
              </a:extLst>
            </p:cNvPr>
            <p:cNvSpPr/>
            <p:nvPr/>
          </p:nvSpPr>
          <p:spPr>
            <a:xfrm>
              <a:off x="4731026" y="2173359"/>
              <a:ext cx="2723322" cy="925785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Adresse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Alt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Telefonnummer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6757ADC-9BA6-4D72-9859-6002EAE230C3}"/>
              </a:ext>
            </a:extLst>
          </p:cNvPr>
          <p:cNvGrpSpPr/>
          <p:nvPr/>
        </p:nvGrpSpPr>
        <p:grpSpPr>
          <a:xfrm>
            <a:off x="9402470" y="4284412"/>
            <a:ext cx="2475747" cy="1872828"/>
            <a:chOff x="4731026" y="1656522"/>
            <a:chExt cx="2723322" cy="226612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81E257C-2781-47B1-8CAF-8F376C802C7D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Unternehmen</a:t>
              </a:r>
              <a:endParaRPr lang="en-US" sz="14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EE77DCF-80B8-42B9-96A5-F112571D15AE}"/>
                </a:ext>
              </a:extLst>
            </p:cNvPr>
            <p:cNvSpPr/>
            <p:nvPr/>
          </p:nvSpPr>
          <p:spPr>
            <a:xfrm>
              <a:off x="4731026" y="2173358"/>
              <a:ext cx="2723322" cy="174928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Adresse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Angebot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CB9E46-FDD3-4D03-A87F-AB24A1791C70}"/>
              </a:ext>
            </a:extLst>
          </p:cNvPr>
          <p:cNvGrpSpPr/>
          <p:nvPr/>
        </p:nvGrpSpPr>
        <p:grpSpPr>
          <a:xfrm>
            <a:off x="3803067" y="5112263"/>
            <a:ext cx="2402814" cy="1044977"/>
            <a:chOff x="4731026" y="1656522"/>
            <a:chExt cx="2723322" cy="118436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EC4EDBE-97B6-4241-B04A-46D435003398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Lieferant</a:t>
              </a:r>
              <a:endParaRPr lang="en-US" sz="14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526396-D756-429F-8872-AA224855C545}"/>
                </a:ext>
              </a:extLst>
            </p:cNvPr>
            <p:cNvSpPr/>
            <p:nvPr/>
          </p:nvSpPr>
          <p:spPr>
            <a:xfrm>
              <a:off x="4731026" y="2173359"/>
              <a:ext cx="2723322" cy="66752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Telefonnummer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EE9A52-E637-4C53-8069-53626D46ED6C}"/>
              </a:ext>
            </a:extLst>
          </p:cNvPr>
          <p:cNvGrpSpPr/>
          <p:nvPr/>
        </p:nvGrpSpPr>
        <p:grpSpPr>
          <a:xfrm>
            <a:off x="71390" y="110749"/>
            <a:ext cx="2402814" cy="1999422"/>
            <a:chOff x="4731026" y="1656522"/>
            <a:chExt cx="2723322" cy="226612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874EE6-E678-4C95-8FB6-26B3E77861DE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sumer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19C8D18-2A35-4FF8-A1F1-87DF1DC8A286}"/>
                </a:ext>
              </a:extLst>
            </p:cNvPr>
            <p:cNvSpPr/>
            <p:nvPr/>
          </p:nvSpPr>
          <p:spPr>
            <a:xfrm>
              <a:off x="4731026" y="2173358"/>
              <a:ext cx="2723322" cy="174928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2F76494-2B93-4EA9-89F4-38F40AC1F8B8}"/>
              </a:ext>
            </a:extLst>
          </p:cNvPr>
          <p:cNvCxnSpPr>
            <a:cxnSpLocks/>
            <a:stCxn id="22" idx="2"/>
            <a:endCxn id="5" idx="0"/>
          </p:cNvCxnSpPr>
          <p:nvPr/>
        </p:nvCxnSpPr>
        <p:spPr>
          <a:xfrm>
            <a:off x="1272797" y="2110171"/>
            <a:ext cx="119862" cy="33758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5E9ECBA-9116-4077-8DE6-3D83D1E32CEB}"/>
              </a:ext>
            </a:extLst>
          </p:cNvPr>
          <p:cNvCxnSpPr>
            <a:cxnSpLocks/>
            <a:stCxn id="12" idx="0"/>
            <a:endCxn id="5" idx="3"/>
          </p:cNvCxnSpPr>
          <p:nvPr/>
        </p:nvCxnSpPr>
        <p:spPr>
          <a:xfrm flipH="1">
            <a:off x="2594066" y="5112263"/>
            <a:ext cx="2410408" cy="601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F6B889D0-7E78-4444-9A79-E6DFD5D75804}"/>
              </a:ext>
            </a:extLst>
          </p:cNvPr>
          <p:cNvGrpSpPr/>
          <p:nvPr/>
        </p:nvGrpSpPr>
        <p:grpSpPr>
          <a:xfrm>
            <a:off x="4158990" y="1866322"/>
            <a:ext cx="1690968" cy="1280777"/>
            <a:chOff x="4731026" y="1656522"/>
            <a:chExt cx="2723322" cy="2062704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3ECEB397-F1C2-4DED-AB7D-75FC9FBD26D6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6) </a:t>
              </a:r>
              <a:r>
                <a:rPr lang="en-US" sz="1400" dirty="0" err="1"/>
                <a:t>Lieferung</a:t>
              </a:r>
              <a:endParaRPr lang="en-US" sz="1400" dirty="0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E1A19FA2-7C8A-495A-BD46-4467E89E1B2F}"/>
                </a:ext>
              </a:extLst>
            </p:cNvPr>
            <p:cNvSpPr/>
            <p:nvPr/>
          </p:nvSpPr>
          <p:spPr>
            <a:xfrm>
              <a:off x="4731026" y="2173359"/>
              <a:ext cx="2723322" cy="154586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Bedarf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Consum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Unternehmen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A7D5750-5EA4-4805-AC62-B06BAFC751F8}"/>
              </a:ext>
            </a:extLst>
          </p:cNvPr>
          <p:cNvCxnSpPr>
            <a:cxnSpLocks/>
            <a:stCxn id="21" idx="3"/>
            <a:endCxn id="91" idx="1"/>
          </p:cNvCxnSpPr>
          <p:nvPr/>
        </p:nvCxnSpPr>
        <p:spPr>
          <a:xfrm>
            <a:off x="2474204" y="338754"/>
            <a:ext cx="1684786" cy="16880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450A65F-9CCD-4AD8-A860-2F2986CB5B31}"/>
              </a:ext>
            </a:extLst>
          </p:cNvPr>
          <p:cNvCxnSpPr>
            <a:cxnSpLocks/>
            <a:stCxn id="92" idx="2"/>
            <a:endCxn id="12" idx="0"/>
          </p:cNvCxnSpPr>
          <p:nvPr/>
        </p:nvCxnSpPr>
        <p:spPr>
          <a:xfrm>
            <a:off x="5004474" y="3147099"/>
            <a:ext cx="0" cy="196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08EAE180-DD63-4DCD-B0FE-FE6174EDF39A}"/>
              </a:ext>
            </a:extLst>
          </p:cNvPr>
          <p:cNvCxnSpPr>
            <a:cxnSpLocks/>
            <a:stCxn id="109" idx="3"/>
            <a:endCxn id="10" idx="1"/>
          </p:cNvCxnSpPr>
          <p:nvPr/>
        </p:nvCxnSpPr>
        <p:spPr>
          <a:xfrm flipV="1">
            <a:off x="9046547" y="5434395"/>
            <a:ext cx="355923" cy="7796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AD60E848-70BD-4FCC-9253-FE883DFA8EA4}"/>
              </a:ext>
            </a:extLst>
          </p:cNvPr>
          <p:cNvGrpSpPr/>
          <p:nvPr/>
        </p:nvGrpSpPr>
        <p:grpSpPr>
          <a:xfrm>
            <a:off x="7355579" y="5413160"/>
            <a:ext cx="1690968" cy="1280777"/>
            <a:chOff x="4731026" y="1656522"/>
            <a:chExt cx="2723322" cy="2062704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C4CB917-5224-4EC3-9A1B-4A9908E136B8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5) </a:t>
              </a:r>
              <a:r>
                <a:rPr lang="en-US" sz="1400" dirty="0" err="1"/>
                <a:t>Bereitstellung</a:t>
              </a:r>
              <a:endParaRPr lang="en-US" sz="1400" dirty="0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B1B206EE-2AAA-4EDD-83B2-B3BEE14534F5}"/>
                </a:ext>
              </a:extLst>
            </p:cNvPr>
            <p:cNvSpPr/>
            <p:nvPr/>
          </p:nvSpPr>
          <p:spPr>
            <a:xfrm>
              <a:off x="4731026" y="2173359"/>
              <a:ext cx="2723322" cy="154586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Bedarf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Consum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Unternehmen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CA38D16-DBD6-4127-AD0D-458874923B86}"/>
              </a:ext>
            </a:extLst>
          </p:cNvPr>
          <p:cNvCxnSpPr>
            <a:cxnSpLocks/>
            <a:stCxn id="13" idx="3"/>
            <a:endCxn id="109" idx="1"/>
          </p:cNvCxnSpPr>
          <p:nvPr/>
        </p:nvCxnSpPr>
        <p:spPr>
          <a:xfrm>
            <a:off x="6205881" y="5862757"/>
            <a:ext cx="1149698" cy="351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5F69D02-BF13-4AAC-8887-E53D3BACE87C}"/>
              </a:ext>
            </a:extLst>
          </p:cNvPr>
          <p:cNvGrpSpPr/>
          <p:nvPr/>
        </p:nvGrpSpPr>
        <p:grpSpPr>
          <a:xfrm>
            <a:off x="6766678" y="338753"/>
            <a:ext cx="1860065" cy="1279167"/>
            <a:chOff x="4731026" y="1656522"/>
            <a:chExt cx="2723322" cy="2266122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92C65159-D3ED-4D12-9E2F-F9904273C6A6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Bedarf</a:t>
              </a:r>
              <a:r>
                <a:rPr lang="en-US" sz="1400" dirty="0"/>
                <a:t> </a:t>
              </a:r>
              <a:r>
                <a:rPr lang="en-US" sz="1400" dirty="0" err="1"/>
                <a:t>Sachgut</a:t>
              </a:r>
              <a:endParaRPr lang="en-US" sz="1400" dirty="0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05B982D3-CE6F-4D9F-A505-793AE3F83F6A}"/>
                </a:ext>
              </a:extLst>
            </p:cNvPr>
            <p:cNvSpPr/>
            <p:nvPr/>
          </p:nvSpPr>
          <p:spPr>
            <a:xfrm>
              <a:off x="4731026" y="2173358"/>
              <a:ext cx="2723322" cy="174928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Unternehmen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Objekt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Menge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Wert</a:t>
              </a:r>
            </a:p>
            <a:p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275BA70-B162-466D-83BF-D0460F8C9ED5}"/>
              </a:ext>
            </a:extLst>
          </p:cNvPr>
          <p:cNvCxnSpPr>
            <a:stCxn id="12" idx="3"/>
            <a:endCxn id="9" idx="1"/>
          </p:cNvCxnSpPr>
          <p:nvPr/>
        </p:nvCxnSpPr>
        <p:spPr>
          <a:xfrm flipV="1">
            <a:off x="6205881" y="4497980"/>
            <a:ext cx="3196589" cy="842288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57D59706-D55B-42E2-98B9-8FF97D796F9D}"/>
              </a:ext>
            </a:extLst>
          </p:cNvPr>
          <p:cNvCxnSpPr>
            <a:cxnSpLocks/>
            <a:stCxn id="22" idx="2"/>
            <a:endCxn id="12" idx="1"/>
          </p:cNvCxnSpPr>
          <p:nvPr/>
        </p:nvCxnSpPr>
        <p:spPr>
          <a:xfrm>
            <a:off x="1272797" y="2110171"/>
            <a:ext cx="2530270" cy="3230097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3B99A708-11B2-4D2C-B3F8-ACA19C2CE2BE}"/>
              </a:ext>
            </a:extLst>
          </p:cNvPr>
          <p:cNvSpPr/>
          <p:nvPr/>
        </p:nvSpPr>
        <p:spPr>
          <a:xfrm>
            <a:off x="6766678" y="4438447"/>
            <a:ext cx="1690968" cy="3209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Zahlung</a:t>
            </a:r>
            <a:r>
              <a:rPr lang="en-US" sz="1400" dirty="0">
                <a:solidFill>
                  <a:schemeClr val="tx1"/>
                </a:solidFill>
              </a:rPr>
              <a:t> - Provision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95237A9-E0F1-46C2-9953-2DB61E5E0BDA}"/>
              </a:ext>
            </a:extLst>
          </p:cNvPr>
          <p:cNvSpPr/>
          <p:nvPr/>
        </p:nvSpPr>
        <p:spPr>
          <a:xfrm>
            <a:off x="1989520" y="3024287"/>
            <a:ext cx="1537244" cy="427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Zahlung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AA64160-100C-4FB3-887A-2D3902675421}"/>
              </a:ext>
            </a:extLst>
          </p:cNvPr>
          <p:cNvSpPr/>
          <p:nvPr/>
        </p:nvSpPr>
        <p:spPr>
          <a:xfrm>
            <a:off x="9831617" y="187890"/>
            <a:ext cx="2402814" cy="19897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Unternehmerisches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Risiko</a:t>
            </a:r>
            <a:endParaRPr lang="en-US" sz="1400" dirty="0">
              <a:solidFill>
                <a:schemeClr val="accent6">
                  <a:lumMod val="50000"/>
                </a:schemeClr>
              </a:solidFill>
            </a:endParaRPr>
          </a:p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-&gt;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beim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Lieferant</a:t>
            </a:r>
            <a:endParaRPr lang="en-US" sz="1400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Bewertungssystem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 (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Konsument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verweigert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Zahlung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keine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weitere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Lieferung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Rückgabe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 der </a:t>
            </a:r>
            <a:r>
              <a:rPr lang="en-US" sz="1400" dirty="0" err="1">
                <a:solidFill>
                  <a:schemeClr val="accent6">
                    <a:lumMod val="50000"/>
                  </a:schemeClr>
                </a:solidFill>
              </a:rPr>
              <a:t>Artikel</a:t>
            </a:r>
            <a:endParaRPr lang="en-US" sz="14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873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B33A73-684D-4C1B-91E4-7DA7D6194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326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B33A73-684D-4C1B-91E4-7DA7D6194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026D3FA-046E-40E0-A1FE-7CA25856E6B0}"/>
              </a:ext>
            </a:extLst>
          </p:cNvPr>
          <p:cNvGrpSpPr/>
          <p:nvPr/>
        </p:nvGrpSpPr>
        <p:grpSpPr>
          <a:xfrm>
            <a:off x="191252" y="5486052"/>
            <a:ext cx="2402814" cy="1272839"/>
            <a:chOff x="4731026" y="1656523"/>
            <a:chExt cx="2723322" cy="144262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9A466A3-1B1C-4990-8CD7-67005BF79FA0}"/>
                </a:ext>
              </a:extLst>
            </p:cNvPr>
            <p:cNvSpPr/>
            <p:nvPr/>
          </p:nvSpPr>
          <p:spPr>
            <a:xfrm>
              <a:off x="4731026" y="1656523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Person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03FF7E5-E96D-4042-A954-CE5C4674204D}"/>
                </a:ext>
              </a:extLst>
            </p:cNvPr>
            <p:cNvSpPr/>
            <p:nvPr/>
          </p:nvSpPr>
          <p:spPr>
            <a:xfrm>
              <a:off x="4731026" y="2173359"/>
              <a:ext cx="2723322" cy="925785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Adresse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Alt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Telefonnummer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CB9E46-FDD3-4D03-A87F-AB24A1791C70}"/>
              </a:ext>
            </a:extLst>
          </p:cNvPr>
          <p:cNvGrpSpPr/>
          <p:nvPr/>
        </p:nvGrpSpPr>
        <p:grpSpPr>
          <a:xfrm>
            <a:off x="5107734" y="5713914"/>
            <a:ext cx="2402814" cy="1044977"/>
            <a:chOff x="4731026" y="1656522"/>
            <a:chExt cx="2723322" cy="118436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EC4EDBE-97B6-4241-B04A-46D435003398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Lieferant</a:t>
              </a:r>
              <a:endParaRPr lang="en-US" sz="14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526396-D756-429F-8872-AA224855C545}"/>
                </a:ext>
              </a:extLst>
            </p:cNvPr>
            <p:cNvSpPr/>
            <p:nvPr/>
          </p:nvSpPr>
          <p:spPr>
            <a:xfrm>
              <a:off x="4731026" y="2173359"/>
              <a:ext cx="2723322" cy="667528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Telefonnummer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6EE9A52-E637-4C53-8069-53626D46ED6C}"/>
              </a:ext>
            </a:extLst>
          </p:cNvPr>
          <p:cNvGrpSpPr/>
          <p:nvPr/>
        </p:nvGrpSpPr>
        <p:grpSpPr>
          <a:xfrm>
            <a:off x="76373" y="766837"/>
            <a:ext cx="2402814" cy="1999422"/>
            <a:chOff x="4731026" y="1656522"/>
            <a:chExt cx="2723322" cy="226612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874EE6-E678-4C95-8FB6-26B3E77861DE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sumer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19C8D18-2A35-4FF8-A1F1-87DF1DC8A286}"/>
                </a:ext>
              </a:extLst>
            </p:cNvPr>
            <p:cNvSpPr/>
            <p:nvPr/>
          </p:nvSpPr>
          <p:spPr>
            <a:xfrm>
              <a:off x="4731026" y="2173358"/>
              <a:ext cx="2723322" cy="174928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2F76494-2B93-4EA9-89F4-38F40AC1F8B8}"/>
              </a:ext>
            </a:extLst>
          </p:cNvPr>
          <p:cNvCxnSpPr>
            <a:cxnSpLocks/>
            <a:stCxn id="22" idx="2"/>
            <a:endCxn id="5" idx="0"/>
          </p:cNvCxnSpPr>
          <p:nvPr/>
        </p:nvCxnSpPr>
        <p:spPr>
          <a:xfrm>
            <a:off x="1277780" y="2766259"/>
            <a:ext cx="114879" cy="27197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5E9ECBA-9116-4077-8DE6-3D83D1E32CEB}"/>
              </a:ext>
            </a:extLst>
          </p:cNvPr>
          <p:cNvCxnSpPr>
            <a:cxnSpLocks/>
            <a:stCxn id="12" idx="0"/>
            <a:endCxn id="5" idx="3"/>
          </p:cNvCxnSpPr>
          <p:nvPr/>
        </p:nvCxnSpPr>
        <p:spPr>
          <a:xfrm flipH="1">
            <a:off x="2594066" y="5713914"/>
            <a:ext cx="3715075" cy="1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C403336-AFC3-44BD-AE50-BEFA0C858E86}"/>
              </a:ext>
            </a:extLst>
          </p:cNvPr>
          <p:cNvCxnSpPr>
            <a:cxnSpLocks/>
            <a:stCxn id="21" idx="3"/>
            <a:endCxn id="46" idx="1"/>
          </p:cNvCxnSpPr>
          <p:nvPr/>
        </p:nvCxnSpPr>
        <p:spPr>
          <a:xfrm flipV="1">
            <a:off x="2479187" y="766837"/>
            <a:ext cx="1596753" cy="2280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F783694-D98B-4ACD-A68C-6FB726E1F305}"/>
              </a:ext>
            </a:extLst>
          </p:cNvPr>
          <p:cNvGrpSpPr/>
          <p:nvPr/>
        </p:nvGrpSpPr>
        <p:grpSpPr>
          <a:xfrm>
            <a:off x="4075940" y="538859"/>
            <a:ext cx="1690968" cy="1048107"/>
            <a:chOff x="4731026" y="1439036"/>
            <a:chExt cx="2723322" cy="1687985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A2CF7AA-925D-48B1-B3CD-AAB429C4F5F7}"/>
                </a:ext>
              </a:extLst>
            </p:cNvPr>
            <p:cNvSpPr/>
            <p:nvPr/>
          </p:nvSpPr>
          <p:spPr>
            <a:xfrm>
              <a:off x="4731026" y="1439036"/>
              <a:ext cx="2723322" cy="73432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1) Hat </a:t>
              </a:r>
              <a:r>
                <a:rPr lang="en-US" sz="1400" dirty="0" err="1"/>
                <a:t>Bedarf</a:t>
              </a:r>
              <a:r>
                <a:rPr lang="en-US" sz="1400" dirty="0"/>
                <a:t> </a:t>
              </a:r>
              <a:r>
                <a:rPr lang="en-US" sz="1400" dirty="0" err="1"/>
                <a:t>Dienstleistung</a:t>
              </a:r>
              <a:endParaRPr lang="en-US" sz="1400" dirty="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D328923E-0241-492B-AADB-1AAD3BFE23B1}"/>
                </a:ext>
              </a:extLst>
            </p:cNvPr>
            <p:cNvSpPr/>
            <p:nvPr/>
          </p:nvSpPr>
          <p:spPr>
            <a:xfrm>
              <a:off x="4731026" y="2173359"/>
              <a:ext cx="2723322" cy="953662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Bedarf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3EF464F-CAB6-4AE7-A6B8-8902CF44DD3E}"/>
              </a:ext>
            </a:extLst>
          </p:cNvPr>
          <p:cNvCxnSpPr>
            <a:cxnSpLocks/>
            <a:stCxn id="46" idx="3"/>
          </p:cNvCxnSpPr>
          <p:nvPr/>
        </p:nvCxnSpPr>
        <p:spPr>
          <a:xfrm>
            <a:off x="5766908" y="766837"/>
            <a:ext cx="1722150" cy="7186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7C348C84-2DA8-4F41-93AF-E1D189A3E907}"/>
              </a:ext>
            </a:extLst>
          </p:cNvPr>
          <p:cNvCxnSpPr>
            <a:cxnSpLocks/>
            <a:stCxn id="140" idx="1"/>
            <a:endCxn id="12" idx="0"/>
          </p:cNvCxnSpPr>
          <p:nvPr/>
        </p:nvCxnSpPr>
        <p:spPr>
          <a:xfrm>
            <a:off x="5042629" y="4632564"/>
            <a:ext cx="1266512" cy="10813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F6B889D0-7E78-4444-9A79-E6DFD5D75804}"/>
              </a:ext>
            </a:extLst>
          </p:cNvPr>
          <p:cNvGrpSpPr/>
          <p:nvPr/>
        </p:nvGrpSpPr>
        <p:grpSpPr>
          <a:xfrm>
            <a:off x="2479187" y="3396197"/>
            <a:ext cx="1690968" cy="1280777"/>
            <a:chOff x="4731026" y="1656522"/>
            <a:chExt cx="2723322" cy="2062704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3ECEB397-F1C2-4DED-AB7D-75FC9FBD26D6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Dienstleistung</a:t>
              </a:r>
              <a:endParaRPr lang="en-US" sz="1400" dirty="0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E1A19FA2-7C8A-495A-BD46-4467E89E1B2F}"/>
                </a:ext>
              </a:extLst>
            </p:cNvPr>
            <p:cNvSpPr/>
            <p:nvPr/>
          </p:nvSpPr>
          <p:spPr>
            <a:xfrm>
              <a:off x="4731026" y="2173359"/>
              <a:ext cx="2723322" cy="154586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Bedarf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Consum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Unternehmen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A7D5750-5EA4-4805-AC62-B06BAFC751F8}"/>
              </a:ext>
            </a:extLst>
          </p:cNvPr>
          <p:cNvCxnSpPr>
            <a:cxnSpLocks/>
            <a:stCxn id="21" idx="3"/>
            <a:endCxn id="91" idx="1"/>
          </p:cNvCxnSpPr>
          <p:nvPr/>
        </p:nvCxnSpPr>
        <p:spPr>
          <a:xfrm>
            <a:off x="2479187" y="994842"/>
            <a:ext cx="0" cy="25618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450A65F-9CCD-4AD8-A860-2F2986CB5B31}"/>
              </a:ext>
            </a:extLst>
          </p:cNvPr>
          <p:cNvCxnSpPr>
            <a:cxnSpLocks/>
            <a:stCxn id="92" idx="2"/>
            <a:endCxn id="12" idx="0"/>
          </p:cNvCxnSpPr>
          <p:nvPr/>
        </p:nvCxnSpPr>
        <p:spPr>
          <a:xfrm>
            <a:off x="3324671" y="4676974"/>
            <a:ext cx="2984470" cy="10369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5F69D02-BF13-4AAC-8887-E53D3BACE87C}"/>
              </a:ext>
            </a:extLst>
          </p:cNvPr>
          <p:cNvGrpSpPr/>
          <p:nvPr/>
        </p:nvGrpSpPr>
        <p:grpSpPr>
          <a:xfrm>
            <a:off x="9515113" y="305129"/>
            <a:ext cx="1860065" cy="1279167"/>
            <a:chOff x="4731026" y="1656522"/>
            <a:chExt cx="2723322" cy="2266122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92C65159-D3ED-4D12-9E2F-F9904273C6A6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Bedarf</a:t>
              </a:r>
              <a:r>
                <a:rPr lang="en-US" sz="1400" dirty="0"/>
                <a:t> </a:t>
              </a:r>
              <a:r>
                <a:rPr lang="en-US" sz="1400" dirty="0" err="1"/>
                <a:t>Sachgut</a:t>
              </a:r>
              <a:endParaRPr lang="en-US" sz="1400" dirty="0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05B982D3-CE6F-4D9F-A505-793AE3F83F6A}"/>
                </a:ext>
              </a:extLst>
            </p:cNvPr>
            <p:cNvSpPr/>
            <p:nvPr/>
          </p:nvSpPr>
          <p:spPr>
            <a:xfrm>
              <a:off x="4731026" y="2173358"/>
              <a:ext cx="2723322" cy="174928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Unternehmen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Objekt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Menge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Wert</a:t>
              </a:r>
            </a:p>
            <a:p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A9E2C6C-47F0-4117-BE5D-92E7E4C7C7B6}"/>
              </a:ext>
            </a:extLst>
          </p:cNvPr>
          <p:cNvGrpSpPr/>
          <p:nvPr/>
        </p:nvGrpSpPr>
        <p:grpSpPr>
          <a:xfrm>
            <a:off x="5042629" y="3831718"/>
            <a:ext cx="1690968" cy="1280777"/>
            <a:chOff x="4731026" y="1656522"/>
            <a:chExt cx="2723322" cy="2062704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FCA220A3-8F95-4F51-B7F4-2D513074E924}"/>
                </a:ext>
              </a:extLst>
            </p:cNvPr>
            <p:cNvSpPr/>
            <p:nvPr/>
          </p:nvSpPr>
          <p:spPr>
            <a:xfrm>
              <a:off x="4731026" y="1656522"/>
              <a:ext cx="2723322" cy="51683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Bestätigung</a:t>
              </a:r>
              <a:endParaRPr lang="en-US" sz="1400" dirty="0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B63354CD-7E31-4BA3-B489-E691B6A1A387}"/>
                </a:ext>
              </a:extLst>
            </p:cNvPr>
            <p:cNvSpPr/>
            <p:nvPr/>
          </p:nvSpPr>
          <p:spPr>
            <a:xfrm>
              <a:off x="4731026" y="2173359"/>
              <a:ext cx="2723322" cy="154586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tx1"/>
                  </a:solidFill>
                </a:rPr>
                <a:t>Bedarf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Budg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</a:rPr>
                <a:t>Frist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3B309714-7525-403C-8211-849487368948}"/>
              </a:ext>
            </a:extLst>
          </p:cNvPr>
          <p:cNvSpPr/>
          <p:nvPr/>
        </p:nvSpPr>
        <p:spPr>
          <a:xfrm>
            <a:off x="76373" y="0"/>
            <a:ext cx="3001617" cy="56777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ienstleistung</a:t>
            </a:r>
            <a:r>
              <a:rPr lang="en-US" dirty="0"/>
              <a:t> </a:t>
            </a:r>
            <a:r>
              <a:rPr lang="en-US" dirty="0" err="1"/>
              <a:t>tb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047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sgweCQ9w.eeb9zltD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3</TotalTime>
  <Words>134</Words>
  <Application>Microsoft Office PowerPoint</Application>
  <PresentationFormat>Widescreen</PresentationFormat>
  <Paragraphs>9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ilipp Lemanczyk</dc:creator>
  <cp:lastModifiedBy>Philipp Lemanczyk</cp:lastModifiedBy>
  <cp:revision>15</cp:revision>
  <dcterms:created xsi:type="dcterms:W3CDTF">2020-03-20T21:36:21Z</dcterms:created>
  <dcterms:modified xsi:type="dcterms:W3CDTF">2020-03-21T08:09:46Z</dcterms:modified>
</cp:coreProperties>
</file>